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ParentxSegment" id="{2D448C50-9657-432F-B659-7B9734F1E34C}">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notesMaster" Target="notesMasters/notesMaster1.xml"/><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 Id="rId46" Type="http://schemas.microsoft.com/office/2015/10/relationships/revisionInfo" Target="revisionInfo.xml"/><Relationship Id="rId4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7115859415532545</c:v>
                </c:pt>
                <c:pt idx="1">
                  <c:v>0.03348792682233926</c:v>
                </c:pt>
                <c:pt idx="2">
                  <c:v>0.11542314622600523</c:v>
                </c:pt>
                <c:pt idx="3">
                  <c:v>0.25306267888657735</c:v>
                </c:pt>
                <c:pt idx="4">
                  <c:v>0.39242675220379614</c:v>
                </c:pt>
                <c:pt idx="5">
                  <c:v>0.20010811840969858</c:v>
                </c:pt>
                <c:pt idx="6">
                  <c:v>0.00077979151003017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670854894249806</c:v>
                </c:pt>
                <c:pt idx="3">
                  <c:v>0.00455903752946085</c:v>
                </c:pt>
                <c:pt idx="4">
                  <c:v>0.010232024484968481</c:v>
                </c:pt>
                <c:pt idx="5">
                  <c:v>0.00485983518719695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3011211455918339</c:v>
                </c:pt>
                <c:pt idx="2">
                  <c:v>0.010755119313315176</c:v>
                </c:pt>
                <c:pt idx="3">
                  <c:v>0.04403324750621082</c:v>
                </c:pt>
                <c:pt idx="4">
                  <c:v>0.08284697241211529</c:v>
                </c:pt>
                <c:pt idx="5">
                  <c:v>0.00747906800454950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9979024748121821</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26927595347959136</c:v>
                </c:pt>
                <c:pt idx="3">
                  <c:v>0.04219838064281826</c:v>
                </c:pt>
                <c:pt idx="4">
                  <c:v>0.12491602122876966</c:v>
                </c:pt>
                <c:pt idx="5">
                  <c:v>0.1288553607860630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984678406390149</c:v>
                </c:pt>
                <c:pt idx="1">
                  <c:v>0.016118801225841688</c:v>
                </c:pt>
                <c:pt idx="2">
                  <c:v>0.05407432781612324</c:v>
                </c:pt>
                <c:pt idx="3">
                  <c:v>0.11316585442242953</c:v>
                </c:pt>
                <c:pt idx="4">
                  <c:v>0.04504535581781915</c:v>
                </c:pt>
                <c:pt idx="5">
                  <c:v>0.0033023677941108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213910488930251</c:v>
                </c:pt>
                <c:pt idx="2">
                  <c:v>0.014747546566220732</c:v>
                </c:pt>
                <c:pt idx="3">
                  <c:v>0.02990176111278349</c:v>
                </c:pt>
                <c:pt idx="4">
                  <c:v>0.08204016376866254</c:v>
                </c:pt>
                <c:pt idx="5">
                  <c:v>0.015228685825520805</c:v>
                </c:pt>
                <c:pt idx="6">
                  <c:v>0.004209164116245050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744777961122773</c:v>
                </c:pt>
                <c:pt idx="1">
                  <c:v>0.027760245056699176</c:v>
                </c:pt>
                <c:pt idx="2">
                  <c:v>0.11934437643587231</c:v>
                </c:pt>
                <c:pt idx="3">
                  <c:v>0.26734464696552934</c:v>
                </c:pt>
                <c:pt idx="4">
                  <c:v>0.37912908429641573</c:v>
                </c:pt>
                <c:pt idx="5">
                  <c:v>0.19566123676135394</c:v>
                </c:pt>
                <c:pt idx="6">
                  <c:v>0.00401563252300674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096891759707336</c:v>
                </c:pt>
                <c:pt idx="3">
                  <c:v>0.028215500997745314</c:v>
                </c:pt>
                <c:pt idx="4">
                  <c:v>0.09037528263519651</c:v>
                </c:pt>
                <c:pt idx="5">
                  <c:v>0.02429640745819896</c:v>
                </c:pt>
                <c:pt idx="6">
                  <c:v>0.000596017871267047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151263140068065</c:v>
                </c:pt>
                <c:pt idx="1">
                  <c:v>0.029433262055105915</c:v>
                </c:pt>
                <c:pt idx="2">
                  <c:v>0.12653686231031827</c:v>
                </c:pt>
                <c:pt idx="3">
                  <c:v>0.254859417876351</c:v>
                </c:pt>
                <c:pt idx="4">
                  <c:v>0.39923577778447267</c:v>
                </c:pt>
                <c:pt idx="5">
                  <c:v>0.17852577558717275</c:v>
                </c:pt>
                <c:pt idx="6">
                  <c:v>0.00425764124651129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4603231841685549</c:v>
                </c:pt>
                <c:pt idx="4">
                  <c:v>0.026796536718294905</c:v>
                </c:pt>
                <c:pt idx="5">
                  <c:v>0.002638688136789729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213910488930251</c:v>
                </c:pt>
                <c:pt idx="2">
                  <c:v>0.014747546566220732</c:v>
                </c:pt>
                <c:pt idx="3">
                  <c:v>0.02990176111278349</c:v>
                </c:pt>
                <c:pt idx="4">
                  <c:v>0.08204016376866254</c:v>
                </c:pt>
                <c:pt idx="5">
                  <c:v>0.015228685825520805</c:v>
                </c:pt>
                <c:pt idx="6">
                  <c:v>0.004209164116245050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213910488930251</c:v>
                </c:pt>
                <c:pt idx="2">
                  <c:v>0.014747546566220732</c:v>
                </c:pt>
                <c:pt idx="3">
                  <c:v>0.02990176111278349</c:v>
                </c:pt>
                <c:pt idx="4">
                  <c:v>0.08204016376866254</c:v>
                </c:pt>
                <c:pt idx="5">
                  <c:v>0.015228685825520805</c:v>
                </c:pt>
                <c:pt idx="6">
                  <c:v>0.004209164116245050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213910488930251</c:v>
                </c:pt>
                <c:pt idx="2">
                  <c:v>0.014747546566220732</c:v>
                </c:pt>
                <c:pt idx="3">
                  <c:v>0.02990176111278349</c:v>
                </c:pt>
                <c:pt idx="4">
                  <c:v>0.08204016376866254</c:v>
                </c:pt>
                <c:pt idx="5">
                  <c:v>0.015228685825520805</c:v>
                </c:pt>
                <c:pt idx="6">
                  <c:v>0.004209164116245050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744777961122773</c:v>
                </c:pt>
                <c:pt idx="1">
                  <c:v>0.027760245056699176</c:v>
                </c:pt>
                <c:pt idx="2">
                  <c:v>0.11934437643587231</c:v>
                </c:pt>
                <c:pt idx="3">
                  <c:v>0.26734464696552934</c:v>
                </c:pt>
                <c:pt idx="4">
                  <c:v>0.37912908429641573</c:v>
                </c:pt>
                <c:pt idx="5">
                  <c:v>0.19566123676135394</c:v>
                </c:pt>
                <c:pt idx="6">
                  <c:v>0.00401563252300674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593047473851815</c:v>
                </c:pt>
                <c:pt idx="4">
                  <c:v>0.025558696901447086</c:v>
                </c:pt>
                <c:pt idx="5">
                  <c:v>0.478510828360034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7115859415532545</c:v>
                </c:pt>
                <c:pt idx="1">
                  <c:v>0.03348792682233926</c:v>
                </c:pt>
                <c:pt idx="2">
                  <c:v>0.11542314622600523</c:v>
                </c:pt>
                <c:pt idx="3">
                  <c:v>0.25306267888657735</c:v>
                </c:pt>
                <c:pt idx="4">
                  <c:v>0.39242675220379614</c:v>
                </c:pt>
                <c:pt idx="5">
                  <c:v>0.20010811840969858</c:v>
                </c:pt>
                <c:pt idx="6">
                  <c:v>0.00077979151003017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744777961122773</c:v>
                </c:pt>
                <c:pt idx="1">
                  <c:v>0.027760245056699176</c:v>
                </c:pt>
                <c:pt idx="2">
                  <c:v>0.11934437643587231</c:v>
                </c:pt>
                <c:pt idx="3">
                  <c:v>0.26734464696552934</c:v>
                </c:pt>
                <c:pt idx="4">
                  <c:v>0.37912908429641573</c:v>
                </c:pt>
                <c:pt idx="5">
                  <c:v>0.19566123676135394</c:v>
                </c:pt>
                <c:pt idx="6">
                  <c:v>0.00401563252300674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593047473851815</c:v>
                </c:pt>
                <c:pt idx="4">
                  <c:v>0.025558696901447086</c:v>
                </c:pt>
                <c:pt idx="5">
                  <c:v>0.478510828360034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9168034978318365</c:v>
                </c:pt>
                <c:pt idx="1">
                  <c:v>0.034984186478661645</c:v>
                </c:pt>
                <c:pt idx="2">
                  <c:v>0.12057696366540469</c:v>
                </c:pt>
                <c:pt idx="3">
                  <c:v>0.24394239554040859</c:v>
                </c:pt>
                <c:pt idx="4">
                  <c:v>0.4072652750667461</c:v>
                </c:pt>
                <c:pt idx="5">
                  <c:v>0.1876677037620601</c:v>
                </c:pt>
                <c:pt idx="6">
                  <c:v>0.000646671988887052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7115859415532545</c:v>
                </c:pt>
                <c:pt idx="1">
                  <c:v>0.03348792682233926</c:v>
                </c:pt>
                <c:pt idx="2">
                  <c:v>0.11542314622600523</c:v>
                </c:pt>
                <c:pt idx="3">
                  <c:v>0.25306267888657735</c:v>
                </c:pt>
                <c:pt idx="4">
                  <c:v>0.39242675220379614</c:v>
                </c:pt>
                <c:pt idx="5">
                  <c:v>0.20010811840969858</c:v>
                </c:pt>
                <c:pt idx="6">
                  <c:v>0.00077979151003017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9168034978318365</c:v>
                </c:pt>
                <c:pt idx="1">
                  <c:v>0.034984186478661645</c:v>
                </c:pt>
                <c:pt idx="2">
                  <c:v>0.12057696366540469</c:v>
                </c:pt>
                <c:pt idx="3">
                  <c:v>0.24394239554040859</c:v>
                </c:pt>
                <c:pt idx="4">
                  <c:v>0.4072652750667461</c:v>
                </c:pt>
                <c:pt idx="5">
                  <c:v>0.1876677037620601</c:v>
                </c:pt>
                <c:pt idx="6">
                  <c:v>0.000646671988887052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571907269101064</c:v>
                </c:pt>
                <c:pt idx="2">
                  <c:v>0.022096609482861854</c:v>
                </c:pt>
                <c:pt idx="3">
                  <c:v>0.017699939521107922</c:v>
                </c:pt>
                <c:pt idx="4">
                  <c:v>0.035032458762905255</c:v>
                </c:pt>
                <c:pt idx="5">
                  <c:v>0.01897222590906390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8655141324150406</c:v>
                </c:pt>
                <c:pt idx="2">
                  <c:v>0.006108687061273151</c:v>
                </c:pt>
                <c:pt idx="3">
                  <c:v>0.004501725030717696</c:v>
                </c:pt>
                <c:pt idx="4">
                  <c:v>0.006914875788388577</c:v>
                </c:pt>
                <c:pt idx="5">
                  <c:v>0.0013103011864812057</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4774948757341267</c:v>
                </c:pt>
                <c:pt idx="2">
                  <c:v>0.0056643210360303444</c:v>
                </c:pt>
                <c:pt idx="3">
                  <c:v>0.041854359274255445</c:v>
                </c:pt>
                <c:pt idx="4">
                  <c:v>0.0742237992007016</c:v>
                </c:pt>
                <c:pt idx="5">
                  <c:v>0.00780388375955251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0548140099792746</c:v>
                </c:pt>
                <c:pt idx="4">
                  <c:v>0.027833769735063192</c:v>
                </c:pt>
                <c:pt idx="5">
                  <c:v>0.002200717198543996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043027047520312</c:v>
                </c:pt>
                <c:pt idx="1">
                  <c:v>0.0031735074460961096</c:v>
                </c:pt>
                <c:pt idx="2">
                  <c:v>0.03318830332739509</c:v>
                </c:pt>
                <c:pt idx="3">
                  <c:v>0.04389597784278558</c:v>
                </c:pt>
                <c:pt idx="4">
                  <c:v>0.13261638970212689</c:v>
                </c:pt>
                <c:pt idx="5">
                  <c:v>0.1322306203134171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8273034148365867</c:v>
                </c:pt>
                <c:pt idx="1">
                  <c:v>0.015102519096612334</c:v>
                </c:pt>
                <c:pt idx="2">
                  <c:v>0.04835681127525949</c:v>
                </c:pt>
                <c:pt idx="3">
                  <c:v>0.11122180389453507</c:v>
                </c:pt>
                <c:pt idx="4">
                  <c:v>0.04718357503075266</c:v>
                </c:pt>
                <c:pt idx="5">
                  <c:v>0.00216384912328356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096891759707336</c:v>
                </c:pt>
                <c:pt idx="3">
                  <c:v>0.028215500997745314</c:v>
                </c:pt>
                <c:pt idx="4">
                  <c:v>0.09037528263519651</c:v>
                </c:pt>
                <c:pt idx="5">
                  <c:v>0.02429640745819896</c:v>
                </c:pt>
                <c:pt idx="6">
                  <c:v>0.000596017871267047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7115859415532545</c:v>
                </c:pt>
                <c:pt idx="1">
                  <c:v>0.03348792682233926</c:v>
                </c:pt>
                <c:pt idx="2">
                  <c:v>0.11542314622600523</c:v>
                </c:pt>
                <c:pt idx="3">
                  <c:v>0.25306267888657735</c:v>
                </c:pt>
                <c:pt idx="4">
                  <c:v>0.39242675220379614</c:v>
                </c:pt>
                <c:pt idx="5">
                  <c:v>0.20010811840969858</c:v>
                </c:pt>
                <c:pt idx="6">
                  <c:v>0.00077979151003017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9168034978318365</c:v>
                </c:pt>
                <c:pt idx="1">
                  <c:v>0.034984186478661645</c:v>
                </c:pt>
                <c:pt idx="2">
                  <c:v>0.12057696366540469</c:v>
                </c:pt>
                <c:pt idx="3">
                  <c:v>0.24394239554040859</c:v>
                </c:pt>
                <c:pt idx="4">
                  <c:v>0.4072652750667461</c:v>
                </c:pt>
                <c:pt idx="5">
                  <c:v>0.1876677037620601</c:v>
                </c:pt>
                <c:pt idx="6">
                  <c:v>0.000646671988887052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0548140099792746</c:v>
                </c:pt>
                <c:pt idx="4">
                  <c:v>0.027833769735063192</c:v>
                </c:pt>
                <c:pt idx="5">
                  <c:v>0.002200717198543996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096891759707336</c:v>
                </c:pt>
                <c:pt idx="3">
                  <c:v>0.028215500997745314</c:v>
                </c:pt>
                <c:pt idx="4">
                  <c:v>0.09037528263519651</c:v>
                </c:pt>
                <c:pt idx="5">
                  <c:v>0.02429640745819896</c:v>
                </c:pt>
                <c:pt idx="6">
                  <c:v>0.000596017871267047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096891759707336</c:v>
                </c:pt>
                <c:pt idx="3">
                  <c:v>0.028215500997745314</c:v>
                </c:pt>
                <c:pt idx="4">
                  <c:v>0.09037528263519651</c:v>
                </c:pt>
                <c:pt idx="5">
                  <c:v>0.02429640745819896</c:v>
                </c:pt>
                <c:pt idx="6">
                  <c:v>0.000596017871267047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096891759707336</c:v>
                </c:pt>
                <c:pt idx="3">
                  <c:v>0.028215500997745314</c:v>
                </c:pt>
                <c:pt idx="4">
                  <c:v>0.09037528263519651</c:v>
                </c:pt>
                <c:pt idx="5">
                  <c:v>0.02429640745819896</c:v>
                </c:pt>
                <c:pt idx="6">
                  <c:v>0.000596017871267047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7115859415532545</c:v>
                </c:pt>
                <c:pt idx="1">
                  <c:v>0.03348792682233926</c:v>
                </c:pt>
                <c:pt idx="2">
                  <c:v>0.11542314622600523</c:v>
                </c:pt>
                <c:pt idx="3">
                  <c:v>0.25306267888657735</c:v>
                </c:pt>
                <c:pt idx="4">
                  <c:v>0.39242675220379614</c:v>
                </c:pt>
                <c:pt idx="5">
                  <c:v>0.20010811840969858</c:v>
                </c:pt>
                <c:pt idx="6">
                  <c:v>0.00077979151003017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588493934911453</c:v>
                </c:pt>
                <c:pt idx="4">
                  <c:v>0.02239062509883376</c:v>
                </c:pt>
                <c:pt idx="5">
                  <c:v>0.4875203375885217</c:v>
                </c:pt>
                <c:pt idx="6">
                  <c:v>0.0039951234028509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7115859415532545</c:v>
                </c:pt>
                <c:pt idx="1">
                  <c:v>0.03348792682233926</c:v>
                </c:pt>
                <c:pt idx="2">
                  <c:v>0.11542314622600523</c:v>
                </c:pt>
                <c:pt idx="3">
                  <c:v>0.25306267888657735</c:v>
                </c:pt>
                <c:pt idx="4">
                  <c:v>0.39242675220379614</c:v>
                </c:pt>
                <c:pt idx="5">
                  <c:v>0.20010811840969858</c:v>
                </c:pt>
                <c:pt idx="6">
                  <c:v>0.00077979151003017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588493934911453</c:v>
                </c:pt>
                <c:pt idx="4">
                  <c:v>0.02239062509883376</c:v>
                </c:pt>
                <c:pt idx="5">
                  <c:v>0.4875203375885217</c:v>
                </c:pt>
                <c:pt idx="6">
                  <c:v>0.0039951234028509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096891759707336</c:v>
                </c:pt>
                <c:pt idx="3">
                  <c:v>0.028215500997745314</c:v>
                </c:pt>
                <c:pt idx="4">
                  <c:v>0.09037528263519651</c:v>
                </c:pt>
                <c:pt idx="5">
                  <c:v>0.02429640745819896</c:v>
                </c:pt>
                <c:pt idx="6">
                  <c:v>0.000596017871267047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287810242930141</c:v>
                </c:pt>
                <c:pt idx="1">
                  <c:v>0.033746952717115544</c:v>
                </c:pt>
                <c:pt idx="2">
                  <c:v>0.1192322273957106</c:v>
                </c:pt>
                <c:pt idx="3">
                  <c:v>0.22555260391768006</c:v>
                </c:pt>
                <c:pt idx="4">
                  <c:v>0.4248321911184583</c:v>
                </c:pt>
                <c:pt idx="5">
                  <c:v>0.1921441325302992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6003173376260813</c:v>
                </c:pt>
                <c:pt idx="2">
                  <c:v>0.025654388975176457</c:v>
                </c:pt>
                <c:pt idx="3">
                  <c:v>0.012781674413679545</c:v>
                </c:pt>
                <c:pt idx="4">
                  <c:v>0.02934478458344407</c:v>
                </c:pt>
                <c:pt idx="5">
                  <c:v>0.0251071836512823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0098768442806877</c:v>
                </c:pt>
                <c:pt idx="2">
                  <c:v>0.008479239880879232</c:v>
                </c:pt>
                <c:pt idx="3">
                  <c:v>0.0009400241152511937</c:v>
                </c:pt>
                <c:pt idx="4">
                  <c:v>0.009185874751290178</c:v>
                </c:pt>
                <c:pt idx="5">
                  <c:v>0.0016432383890484376</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6309779432539336</c:v>
                </c:pt>
                <c:pt idx="2">
                  <c:v>0.006490863744179826</c:v>
                </c:pt>
                <c:pt idx="3">
                  <c:v>0.03290766269344465</c:v>
                </c:pt>
                <c:pt idx="4">
                  <c:v>0.0803559931619795</c:v>
                </c:pt>
                <c:pt idx="5">
                  <c:v>0.00760501830997145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8989003417333752</c:v>
                </c:pt>
                <c:pt idx="1">
                  <c:v>0.0009573028602010366</c:v>
                </c:pt>
                <c:pt idx="2">
                  <c:v>0.031136469654783294</c:v>
                </c:pt>
                <c:pt idx="3">
                  <c:v>0.04669605609627021</c:v>
                </c:pt>
                <c:pt idx="4">
                  <c:v>0.15538116451674433</c:v>
                </c:pt>
                <c:pt idx="5">
                  <c:v>0.124844894646435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9168034978318365</c:v>
                </c:pt>
                <c:pt idx="1">
                  <c:v>0.034984186478661645</c:v>
                </c:pt>
                <c:pt idx="2">
                  <c:v>0.12057696366540469</c:v>
                </c:pt>
                <c:pt idx="3">
                  <c:v>0.24394239554040859</c:v>
                </c:pt>
                <c:pt idx="4">
                  <c:v>0.4072652750667461</c:v>
                </c:pt>
                <c:pt idx="5">
                  <c:v>0.1876677037620601</c:v>
                </c:pt>
                <c:pt idx="6">
                  <c:v>0.000646671988887052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3305344230185403</c:v>
                </c:pt>
                <c:pt idx="1">
                  <c:v>0.010100016802835855</c:v>
                </c:pt>
                <c:pt idx="2">
                  <c:v>0.04209567813431521</c:v>
                </c:pt>
                <c:pt idx="3">
                  <c:v>0.1108136704310415</c:v>
                </c:pt>
                <c:pt idx="4">
                  <c:v>0.05119204051414118</c:v>
                </c:pt>
                <c:pt idx="5">
                  <c:v>0.00258228905387992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696177002417709</c:v>
                </c:pt>
                <c:pt idx="3">
                  <c:v>0.021432624639194656</c:v>
                </c:pt>
                <c:pt idx="4">
                  <c:v>0.0842285817337545</c:v>
                </c:pt>
                <c:pt idx="5">
                  <c:v>0.02878421234313860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287810242930141</c:v>
                </c:pt>
                <c:pt idx="1">
                  <c:v>0.033746952717115544</c:v>
                </c:pt>
                <c:pt idx="2">
                  <c:v>0.1192322273957106</c:v>
                </c:pt>
                <c:pt idx="3">
                  <c:v>0.22555260391768006</c:v>
                </c:pt>
                <c:pt idx="4">
                  <c:v>0.4248321911184583</c:v>
                </c:pt>
                <c:pt idx="5">
                  <c:v>0.1921441325302992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9209156440494895</c:v>
                </c:pt>
                <c:pt idx="4">
                  <c:v>0.024329626608394724</c:v>
                </c:pt>
                <c:pt idx="5">
                  <c:v>0.00322053452559137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096891759707336</c:v>
                </c:pt>
                <c:pt idx="3">
                  <c:v>0.028215500997745314</c:v>
                </c:pt>
                <c:pt idx="4">
                  <c:v>0.09037528263519651</c:v>
                </c:pt>
                <c:pt idx="5">
                  <c:v>0.02429640745819896</c:v>
                </c:pt>
                <c:pt idx="6">
                  <c:v>0.000596017871267047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696177002417709</c:v>
                </c:pt>
                <c:pt idx="3">
                  <c:v>0.021432624639194656</c:v>
                </c:pt>
                <c:pt idx="4">
                  <c:v>0.0842285817337545</c:v>
                </c:pt>
                <c:pt idx="5">
                  <c:v>0.02878421234313860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696177002417709</c:v>
                </c:pt>
                <c:pt idx="3">
                  <c:v>0.021432624639194656</c:v>
                </c:pt>
                <c:pt idx="4">
                  <c:v>0.0842285817337545</c:v>
                </c:pt>
                <c:pt idx="5">
                  <c:v>0.02878421234313860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696177002417709</c:v>
                </c:pt>
                <c:pt idx="3">
                  <c:v>0.021432624639194656</c:v>
                </c:pt>
                <c:pt idx="4">
                  <c:v>0.0842285817337545</c:v>
                </c:pt>
                <c:pt idx="5">
                  <c:v>0.02878421234313860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01818768546174</c:v>
                </c:pt>
                <c:pt idx="4">
                  <c:v>0.016386580516175055</c:v>
                </c:pt>
                <c:pt idx="5">
                  <c:v>0.4916116822395893</c:v>
                </c:pt>
                <c:pt idx="6">
                  <c:v>0.0118198603896182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096891759707336</c:v>
                </c:pt>
                <c:pt idx="3">
                  <c:v>0.028215500997745314</c:v>
                </c:pt>
                <c:pt idx="4">
                  <c:v>0.09037528263519651</c:v>
                </c:pt>
                <c:pt idx="5">
                  <c:v>0.02429640745819896</c:v>
                </c:pt>
                <c:pt idx="6">
                  <c:v>0.000596017871267047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01818768546174</c:v>
                </c:pt>
                <c:pt idx="4">
                  <c:v>0.016386580516175055</c:v>
                </c:pt>
                <c:pt idx="5">
                  <c:v>0.4916116822395893</c:v>
                </c:pt>
                <c:pt idx="6">
                  <c:v>0.0118198603896182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744777961122773</c:v>
                </c:pt>
                <c:pt idx="1">
                  <c:v>0.027760245056699176</c:v>
                </c:pt>
                <c:pt idx="2">
                  <c:v>0.11934437643587231</c:v>
                </c:pt>
                <c:pt idx="3">
                  <c:v>0.26734464696552934</c:v>
                </c:pt>
                <c:pt idx="4">
                  <c:v>0.37912908429641573</c:v>
                </c:pt>
                <c:pt idx="5">
                  <c:v>0.19566123676135394</c:v>
                </c:pt>
                <c:pt idx="6">
                  <c:v>0.00401563252300674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151263140068065</c:v>
                </c:pt>
                <c:pt idx="1">
                  <c:v>0.029433262055105915</c:v>
                </c:pt>
                <c:pt idx="2">
                  <c:v>0.12653686231031827</c:v>
                </c:pt>
                <c:pt idx="3">
                  <c:v>0.254859417876351</c:v>
                </c:pt>
                <c:pt idx="4">
                  <c:v>0.39923577778447267</c:v>
                </c:pt>
                <c:pt idx="5">
                  <c:v>0.17852577558717275</c:v>
                </c:pt>
                <c:pt idx="6">
                  <c:v>0.00425764124651129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9611560963249213</c:v>
                </c:pt>
                <c:pt idx="2">
                  <c:v>0.020020928167702734</c:v>
                </c:pt>
                <c:pt idx="3">
                  <c:v>0.024099851007940383</c:v>
                </c:pt>
                <c:pt idx="4">
                  <c:v>0.037590727838811136</c:v>
                </c:pt>
                <c:pt idx="5">
                  <c:v>0.021021605040138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9611560963249213</c:v>
                </c:pt>
                <c:pt idx="2">
                  <c:v>0.00844071336186619</c:v>
                </c:pt>
                <c:pt idx="3">
                  <c:v>0.003196359327224923</c:v>
                </c:pt>
                <c:pt idx="4">
                  <c:v>0.010649876395981047</c:v>
                </c:pt>
                <c:pt idx="5">
                  <c:v>0.000672446063091206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3011211455918339</c:v>
                </c:pt>
                <c:pt idx="2">
                  <c:v>0.010755119313315176</c:v>
                </c:pt>
                <c:pt idx="3">
                  <c:v>0.04403324750621082</c:v>
                </c:pt>
                <c:pt idx="4">
                  <c:v>0.08284697241211529</c:v>
                </c:pt>
                <c:pt idx="5">
                  <c:v>0.00747906800454950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26927595347959136</c:v>
                </c:pt>
                <c:pt idx="3">
                  <c:v>0.04219838064281826</c:v>
                </c:pt>
                <c:pt idx="4">
                  <c:v>0.12491602122876966</c:v>
                </c:pt>
                <c:pt idx="5">
                  <c:v>0.1288553607860630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984678406390149</c:v>
                </c:pt>
                <c:pt idx="1">
                  <c:v>0.016118801225841688</c:v>
                </c:pt>
                <c:pt idx="2">
                  <c:v>0.05407432781612324</c:v>
                </c:pt>
                <c:pt idx="3">
                  <c:v>0.11316585442242953</c:v>
                </c:pt>
                <c:pt idx="4">
                  <c:v>0.04504535581781915</c:v>
                </c:pt>
                <c:pt idx="5">
                  <c:v>0.0033023677941108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7115859415532545</c:v>
                </c:pt>
                <c:pt idx="1">
                  <c:v>0.03348792682233926</c:v>
                </c:pt>
                <c:pt idx="2">
                  <c:v>0.11542314622600523</c:v>
                </c:pt>
                <c:pt idx="3">
                  <c:v>0.25306267888657735</c:v>
                </c:pt>
                <c:pt idx="4">
                  <c:v>0.39242675220379614</c:v>
                </c:pt>
                <c:pt idx="5">
                  <c:v>0.20010811840969858</c:v>
                </c:pt>
                <c:pt idx="6">
                  <c:v>0.00077979151003017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213910488930251</c:v>
                </c:pt>
                <c:pt idx="2">
                  <c:v>0.014747546566220732</c:v>
                </c:pt>
                <c:pt idx="3">
                  <c:v>0.02990176111278349</c:v>
                </c:pt>
                <c:pt idx="4">
                  <c:v>0.08204016376866254</c:v>
                </c:pt>
                <c:pt idx="5">
                  <c:v>0.015228685825520805</c:v>
                </c:pt>
                <c:pt idx="6">
                  <c:v>0.004209164116245050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744777961122773</c:v>
                </c:pt>
                <c:pt idx="1">
                  <c:v>0.027760245056699176</c:v>
                </c:pt>
                <c:pt idx="2">
                  <c:v>0.11934437643587231</c:v>
                </c:pt>
                <c:pt idx="3">
                  <c:v>0.26734464696552934</c:v>
                </c:pt>
                <c:pt idx="4">
                  <c:v>0.37912908429641573</c:v>
                </c:pt>
                <c:pt idx="5">
                  <c:v>0.19566123676135394</c:v>
                </c:pt>
                <c:pt idx="6">
                  <c:v>0.00401563252300674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151263140068065</c:v>
                </c:pt>
                <c:pt idx="1">
                  <c:v>0.029433262055105915</c:v>
                </c:pt>
                <c:pt idx="2">
                  <c:v>0.12653686231031827</c:v>
                </c:pt>
                <c:pt idx="3">
                  <c:v>0.254859417876351</c:v>
                </c:pt>
                <c:pt idx="4">
                  <c:v>0.39923577778447267</c:v>
                </c:pt>
                <c:pt idx="5">
                  <c:v>0.17852577558717275</c:v>
                </c:pt>
                <c:pt idx="6">
                  <c:v>0.00425764124651129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4603231841685549</c:v>
                </c:pt>
                <c:pt idx="4">
                  <c:v>0.026796536718294905</c:v>
                </c:pt>
                <c:pt idx="5">
                  <c:v>0.002638688136789729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213910488930251</c:v>
                </c:pt>
                <c:pt idx="2">
                  <c:v>0.014747546566220732</c:v>
                </c:pt>
                <c:pt idx="3">
                  <c:v>0.02990176111278349</c:v>
                </c:pt>
                <c:pt idx="4">
                  <c:v>0.08204016376866254</c:v>
                </c:pt>
                <c:pt idx="5">
                  <c:v>0.015228685825520805</c:v>
                </c:pt>
                <c:pt idx="6">
                  <c:v>0.004209164116245050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588493934911453</c:v>
                </c:pt>
                <c:pt idx="4">
                  <c:v>0.02239062509883376</c:v>
                </c:pt>
                <c:pt idx="5">
                  <c:v>0.4875203375885217</c:v>
                </c:pt>
                <c:pt idx="6">
                  <c:v>0.0039951234028509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213910488930251</c:v>
                </c:pt>
                <c:pt idx="2">
                  <c:v>0.014747546566220732</c:v>
                </c:pt>
                <c:pt idx="3">
                  <c:v>0.02990176111278349</c:v>
                </c:pt>
                <c:pt idx="4">
                  <c:v>0.08204016376866254</c:v>
                </c:pt>
                <c:pt idx="5">
                  <c:v>0.015228685825520805</c:v>
                </c:pt>
                <c:pt idx="6">
                  <c:v>0.004209164116245050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213910488930251</c:v>
                </c:pt>
                <c:pt idx="2">
                  <c:v>0.014747546566220732</c:v>
                </c:pt>
                <c:pt idx="3">
                  <c:v>0.02990176111278349</c:v>
                </c:pt>
                <c:pt idx="4">
                  <c:v>0.08204016376866254</c:v>
                </c:pt>
                <c:pt idx="5">
                  <c:v>0.015228685825520805</c:v>
                </c:pt>
                <c:pt idx="6">
                  <c:v>0.004209164116245050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744777961122773</c:v>
                </c:pt>
                <c:pt idx="1">
                  <c:v>0.027760245056699176</c:v>
                </c:pt>
                <c:pt idx="2">
                  <c:v>0.11934437643587231</c:v>
                </c:pt>
                <c:pt idx="3">
                  <c:v>0.26734464696552934</c:v>
                </c:pt>
                <c:pt idx="4">
                  <c:v>0.37912908429641573</c:v>
                </c:pt>
                <c:pt idx="5">
                  <c:v>0.19566123676135394</c:v>
                </c:pt>
                <c:pt idx="6">
                  <c:v>0.00401563252300674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593047473851815</c:v>
                </c:pt>
                <c:pt idx="4">
                  <c:v>0.025558696901447086</c:v>
                </c:pt>
                <c:pt idx="5">
                  <c:v>0.478510828360034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744777961122773</c:v>
                </c:pt>
                <c:pt idx="1">
                  <c:v>0.027760245056699176</c:v>
                </c:pt>
                <c:pt idx="2">
                  <c:v>0.11934437643587231</c:v>
                </c:pt>
                <c:pt idx="3">
                  <c:v>0.26734464696552934</c:v>
                </c:pt>
                <c:pt idx="4">
                  <c:v>0.37912908429641573</c:v>
                </c:pt>
                <c:pt idx="5">
                  <c:v>0.19566123676135394</c:v>
                </c:pt>
                <c:pt idx="6">
                  <c:v>0.00401563252300674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593047473851815</c:v>
                </c:pt>
                <c:pt idx="4">
                  <c:v>0.025558696901447086</c:v>
                </c:pt>
                <c:pt idx="5">
                  <c:v>0.478510828360034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7115859415532545</c:v>
                </c:pt>
                <c:pt idx="1">
                  <c:v>0.03348792682233926</c:v>
                </c:pt>
                <c:pt idx="2">
                  <c:v>0.11542314622600523</c:v>
                </c:pt>
                <c:pt idx="3">
                  <c:v>0.25306267888657735</c:v>
                </c:pt>
                <c:pt idx="4">
                  <c:v>0.39242675220379614</c:v>
                </c:pt>
                <c:pt idx="5">
                  <c:v>0.20010811840969858</c:v>
                </c:pt>
                <c:pt idx="6">
                  <c:v>0.00077979151003017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9168034978318365</c:v>
                </c:pt>
                <c:pt idx="1">
                  <c:v>0.034984186478661645</c:v>
                </c:pt>
                <c:pt idx="2">
                  <c:v>0.12057696366540469</c:v>
                </c:pt>
                <c:pt idx="3">
                  <c:v>0.24394239554040859</c:v>
                </c:pt>
                <c:pt idx="4">
                  <c:v>0.4072652750667461</c:v>
                </c:pt>
                <c:pt idx="5">
                  <c:v>0.1876677037620601</c:v>
                </c:pt>
                <c:pt idx="6">
                  <c:v>0.000646671988887052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571907269101064</c:v>
                </c:pt>
                <c:pt idx="2">
                  <c:v>0.022096609482861854</c:v>
                </c:pt>
                <c:pt idx="3">
                  <c:v>0.017699939521107922</c:v>
                </c:pt>
                <c:pt idx="4">
                  <c:v>0.035032458762905255</c:v>
                </c:pt>
                <c:pt idx="5">
                  <c:v>0.01897222590906390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4774948757341267</c:v>
                </c:pt>
                <c:pt idx="2">
                  <c:v>0.0056643210360303444</c:v>
                </c:pt>
                <c:pt idx="3">
                  <c:v>0.041854359274255445</c:v>
                </c:pt>
                <c:pt idx="4">
                  <c:v>0.0742237992007016</c:v>
                </c:pt>
                <c:pt idx="5">
                  <c:v>0.00780388375955251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522680506827396</c:v>
                </c:pt>
                <c:pt idx="4">
                  <c:v>0.008085576483263678</c:v>
                </c:pt>
                <c:pt idx="5">
                  <c:v>0.0019182113158421196</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043027047520312</c:v>
                </c:pt>
                <c:pt idx="1">
                  <c:v>0.0031735074460961096</c:v>
                </c:pt>
                <c:pt idx="2">
                  <c:v>0.03318830332739509</c:v>
                </c:pt>
                <c:pt idx="3">
                  <c:v>0.04389597784278558</c:v>
                </c:pt>
                <c:pt idx="4">
                  <c:v>0.13261638970212689</c:v>
                </c:pt>
                <c:pt idx="5">
                  <c:v>0.1322306203134171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362626253597373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8273034148365867</c:v>
                </c:pt>
                <c:pt idx="1">
                  <c:v>0.015102519096612334</c:v>
                </c:pt>
                <c:pt idx="2">
                  <c:v>0.04835681127525949</c:v>
                </c:pt>
                <c:pt idx="3">
                  <c:v>0.11122180389453507</c:v>
                </c:pt>
                <c:pt idx="4">
                  <c:v>0.04718357503075266</c:v>
                </c:pt>
                <c:pt idx="5">
                  <c:v>0.00216384912328356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096891759707336</c:v>
                </c:pt>
                <c:pt idx="3">
                  <c:v>0.028215500997745314</c:v>
                </c:pt>
                <c:pt idx="4">
                  <c:v>0.09037528263519651</c:v>
                </c:pt>
                <c:pt idx="5">
                  <c:v>0.02429640745819896</c:v>
                </c:pt>
                <c:pt idx="6">
                  <c:v>0.000596017871267047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571907269101064</c:v>
                </c:pt>
                <c:pt idx="2">
                  <c:v>0.022096609482861854</c:v>
                </c:pt>
                <c:pt idx="3">
                  <c:v>0.017699939521107922</c:v>
                </c:pt>
                <c:pt idx="4">
                  <c:v>0.035032458762905255</c:v>
                </c:pt>
                <c:pt idx="5">
                  <c:v>0.018972225909063906</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7115859415532545</c:v>
                </c:pt>
                <c:pt idx="1">
                  <c:v>0.03348792682233926</c:v>
                </c:pt>
                <c:pt idx="2">
                  <c:v>0.11542314622600523</c:v>
                </c:pt>
                <c:pt idx="3">
                  <c:v>0.25306267888657735</c:v>
                </c:pt>
                <c:pt idx="4">
                  <c:v>0.39242675220379614</c:v>
                </c:pt>
                <c:pt idx="5">
                  <c:v>0.20010811840969858</c:v>
                </c:pt>
                <c:pt idx="6">
                  <c:v>0.00077979151003017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9168034978318365</c:v>
                </c:pt>
                <c:pt idx="1">
                  <c:v>0.034984186478661645</c:v>
                </c:pt>
                <c:pt idx="2">
                  <c:v>0.12057696366540469</c:v>
                </c:pt>
                <c:pt idx="3">
                  <c:v>0.24394239554040859</c:v>
                </c:pt>
                <c:pt idx="4">
                  <c:v>0.4072652750667461</c:v>
                </c:pt>
                <c:pt idx="5">
                  <c:v>0.1876677037620601</c:v>
                </c:pt>
                <c:pt idx="6">
                  <c:v>0.000646671988887052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0548140099792746</c:v>
                </c:pt>
                <c:pt idx="4">
                  <c:v>0.027833769735063192</c:v>
                </c:pt>
                <c:pt idx="5">
                  <c:v>0.002200717198543996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096891759707336</c:v>
                </c:pt>
                <c:pt idx="3">
                  <c:v>0.028215500997745314</c:v>
                </c:pt>
                <c:pt idx="4">
                  <c:v>0.09037528263519651</c:v>
                </c:pt>
                <c:pt idx="5">
                  <c:v>0.02429640745819896</c:v>
                </c:pt>
                <c:pt idx="6">
                  <c:v>0.000596017871267047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096891759707336</c:v>
                </c:pt>
                <c:pt idx="3">
                  <c:v>0.028215500997745314</c:v>
                </c:pt>
                <c:pt idx="4">
                  <c:v>0.09037528263519651</c:v>
                </c:pt>
                <c:pt idx="5">
                  <c:v>0.02429640745819896</c:v>
                </c:pt>
                <c:pt idx="6">
                  <c:v>0.000596017871267047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096891759707336</c:v>
                </c:pt>
                <c:pt idx="3">
                  <c:v>0.028215500997745314</c:v>
                </c:pt>
                <c:pt idx="4">
                  <c:v>0.09037528263519651</c:v>
                </c:pt>
                <c:pt idx="5">
                  <c:v>0.02429640745819896</c:v>
                </c:pt>
                <c:pt idx="6">
                  <c:v>0.0005960178712670478</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7115859415532545</c:v>
                </c:pt>
                <c:pt idx="1">
                  <c:v>0.03348792682233926</c:v>
                </c:pt>
                <c:pt idx="2">
                  <c:v>0.11542314622600523</c:v>
                </c:pt>
                <c:pt idx="3">
                  <c:v>0.25306267888657735</c:v>
                </c:pt>
                <c:pt idx="4">
                  <c:v>0.39242675220379614</c:v>
                </c:pt>
                <c:pt idx="5">
                  <c:v>0.20010811840969858</c:v>
                </c:pt>
                <c:pt idx="6">
                  <c:v>0.00077979151003017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588493934911453</c:v>
                </c:pt>
                <c:pt idx="4">
                  <c:v>0.02239062509883376</c:v>
                </c:pt>
                <c:pt idx="5">
                  <c:v>0.4875203375885217</c:v>
                </c:pt>
                <c:pt idx="6">
                  <c:v>0.0039951234028509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7115859415532545</c:v>
                </c:pt>
                <c:pt idx="1">
                  <c:v>0.03348792682233926</c:v>
                </c:pt>
                <c:pt idx="2">
                  <c:v>0.11542314622600523</c:v>
                </c:pt>
                <c:pt idx="3">
                  <c:v>0.25306267888657735</c:v>
                </c:pt>
                <c:pt idx="4">
                  <c:v>0.39242675220379614</c:v>
                </c:pt>
                <c:pt idx="5">
                  <c:v>0.20010811840969858</c:v>
                </c:pt>
                <c:pt idx="6">
                  <c:v>0.00077979151003017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588493934911453</c:v>
                </c:pt>
                <c:pt idx="4">
                  <c:v>0.02239062509883376</c:v>
                </c:pt>
                <c:pt idx="5">
                  <c:v>0.4875203375885217</c:v>
                </c:pt>
                <c:pt idx="6">
                  <c:v>0.0039951234028509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287810242930141</c:v>
                </c:pt>
                <c:pt idx="1">
                  <c:v>0.033746952717115544</c:v>
                </c:pt>
                <c:pt idx="2">
                  <c:v>0.1192322273957106</c:v>
                </c:pt>
                <c:pt idx="3">
                  <c:v>0.22555260391768006</c:v>
                </c:pt>
                <c:pt idx="4">
                  <c:v>0.4248321911184583</c:v>
                </c:pt>
                <c:pt idx="5">
                  <c:v>0.1921441325302992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6003173376260813</c:v>
                </c:pt>
                <c:pt idx="2">
                  <c:v>0.025654388975176457</c:v>
                </c:pt>
                <c:pt idx="3">
                  <c:v>0.012781674413679545</c:v>
                </c:pt>
                <c:pt idx="4">
                  <c:v>0.02934478458344407</c:v>
                </c:pt>
                <c:pt idx="5">
                  <c:v>0.0251071836512823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6309779432539336</c:v>
                </c:pt>
                <c:pt idx="2">
                  <c:v>0.006490863744179826</c:v>
                </c:pt>
                <c:pt idx="3">
                  <c:v>0.03290766269344465</c:v>
                </c:pt>
                <c:pt idx="4">
                  <c:v>0.0803559931619795</c:v>
                </c:pt>
                <c:pt idx="5">
                  <c:v>0.00760501830997145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476399280447082</c:v>
                </c:pt>
                <c:pt idx="4">
                  <c:v>0.009166887961390938</c:v>
                </c:pt>
                <c:pt idx="5">
                  <c:v>0.002038648541476532</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8989003417333752</c:v>
                </c:pt>
                <c:pt idx="1">
                  <c:v>0.0009573028602010366</c:v>
                </c:pt>
                <c:pt idx="2">
                  <c:v>0.031136469654783294</c:v>
                </c:pt>
                <c:pt idx="3">
                  <c:v>0.04669605609627021</c:v>
                </c:pt>
                <c:pt idx="4">
                  <c:v>0.15538116451674433</c:v>
                </c:pt>
                <c:pt idx="5">
                  <c:v>0.124844894646435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5810687796982373</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3305344230185403</c:v>
                </c:pt>
                <c:pt idx="1">
                  <c:v>0.010100016802835855</c:v>
                </c:pt>
                <c:pt idx="2">
                  <c:v>0.04209567813431521</c:v>
                </c:pt>
                <c:pt idx="3">
                  <c:v>0.1108136704310415</c:v>
                </c:pt>
                <c:pt idx="4">
                  <c:v>0.05119204051414118</c:v>
                </c:pt>
                <c:pt idx="5">
                  <c:v>0.00258228905387992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696177002417709</c:v>
                </c:pt>
                <c:pt idx="3">
                  <c:v>0.021432624639194656</c:v>
                </c:pt>
                <c:pt idx="4">
                  <c:v>0.0842285817337545</c:v>
                </c:pt>
                <c:pt idx="5">
                  <c:v>0.02878421234313860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287810242930141</c:v>
                </c:pt>
                <c:pt idx="1">
                  <c:v>0.033746952717115544</c:v>
                </c:pt>
                <c:pt idx="2">
                  <c:v>0.1192322273957106</c:v>
                </c:pt>
                <c:pt idx="3">
                  <c:v>0.22555260391768006</c:v>
                </c:pt>
                <c:pt idx="4">
                  <c:v>0.4248321911184583</c:v>
                </c:pt>
                <c:pt idx="5">
                  <c:v>0.1921441325302992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9209156440494895</c:v>
                </c:pt>
                <c:pt idx="4">
                  <c:v>0.024329626608394724</c:v>
                </c:pt>
                <c:pt idx="5">
                  <c:v>0.00322053452559137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696177002417709</c:v>
                </c:pt>
                <c:pt idx="3">
                  <c:v>0.021432624639194656</c:v>
                </c:pt>
                <c:pt idx="4">
                  <c:v>0.0842285817337545</c:v>
                </c:pt>
                <c:pt idx="5">
                  <c:v>0.02878421234313860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696177002417709</c:v>
                </c:pt>
                <c:pt idx="3">
                  <c:v>0.021432624639194656</c:v>
                </c:pt>
                <c:pt idx="4">
                  <c:v>0.0842285817337545</c:v>
                </c:pt>
                <c:pt idx="5">
                  <c:v>0.02878421234313860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696177002417709</c:v>
                </c:pt>
                <c:pt idx="3">
                  <c:v>0.021432624639194656</c:v>
                </c:pt>
                <c:pt idx="4">
                  <c:v>0.0842285817337545</c:v>
                </c:pt>
                <c:pt idx="5">
                  <c:v>0.02878421234313860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01818768546174</c:v>
                </c:pt>
                <c:pt idx="4">
                  <c:v>0.016386580516175055</c:v>
                </c:pt>
                <c:pt idx="5">
                  <c:v>0.4916116822395893</c:v>
                </c:pt>
                <c:pt idx="6">
                  <c:v>0.0118198603896182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7115859415532545</c:v>
                </c:pt>
                <c:pt idx="1">
                  <c:v>0.03348792682233926</c:v>
                </c:pt>
                <c:pt idx="2">
                  <c:v>0.11542314622600523</c:v>
                </c:pt>
                <c:pt idx="3">
                  <c:v>0.25306267888657735</c:v>
                </c:pt>
                <c:pt idx="4">
                  <c:v>0.39242675220379614</c:v>
                </c:pt>
                <c:pt idx="5">
                  <c:v>0.20010811840969858</c:v>
                </c:pt>
                <c:pt idx="6">
                  <c:v>0.0007797915100301701</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01818768546174</c:v>
                </c:pt>
                <c:pt idx="4">
                  <c:v>0.016386580516175055</c:v>
                </c:pt>
                <c:pt idx="5">
                  <c:v>0.4916116822395893</c:v>
                </c:pt>
                <c:pt idx="6">
                  <c:v>0.0118198603896182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588493934911453</c:v>
                </c:pt>
                <c:pt idx="4">
                  <c:v>0.02239062509883376</c:v>
                </c:pt>
                <c:pt idx="5">
                  <c:v>0.4875203375885217</c:v>
                </c:pt>
                <c:pt idx="6">
                  <c:v>0.00399512340285099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744777961122773</c:v>
                </c:pt>
                <c:pt idx="1">
                  <c:v>0.027760245056699176</c:v>
                </c:pt>
                <c:pt idx="2">
                  <c:v>0.11934437643587231</c:v>
                </c:pt>
                <c:pt idx="3">
                  <c:v>0.26734464696552934</c:v>
                </c:pt>
                <c:pt idx="4">
                  <c:v>0.37912908429641573</c:v>
                </c:pt>
                <c:pt idx="5">
                  <c:v>0.19566123676135394</c:v>
                </c:pt>
                <c:pt idx="6">
                  <c:v>0.00401563252300674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151263140068065</c:v>
                </c:pt>
                <c:pt idx="1">
                  <c:v>0.029433262055105915</c:v>
                </c:pt>
                <c:pt idx="2">
                  <c:v>0.12653686231031827</c:v>
                </c:pt>
                <c:pt idx="3">
                  <c:v>0.254859417876351</c:v>
                </c:pt>
                <c:pt idx="4">
                  <c:v>0.39923577778447267</c:v>
                </c:pt>
                <c:pt idx="5">
                  <c:v>0.17852577558717275</c:v>
                </c:pt>
                <c:pt idx="6">
                  <c:v>0.00425764124651129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9611560963249213</c:v>
                </c:pt>
                <c:pt idx="2">
                  <c:v>0.020020928167702734</c:v>
                </c:pt>
                <c:pt idx="3">
                  <c:v>0.024099851007940383</c:v>
                </c:pt>
                <c:pt idx="4">
                  <c:v>0.037590727838811136</c:v>
                </c:pt>
                <c:pt idx="5">
                  <c:v>0.021021605040138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3011211455918339</c:v>
                </c:pt>
                <c:pt idx="2">
                  <c:v>0.010755119313315176</c:v>
                </c:pt>
                <c:pt idx="3">
                  <c:v>0.04403324750621082</c:v>
                </c:pt>
                <c:pt idx="4">
                  <c:v>0.08284697241211529</c:v>
                </c:pt>
                <c:pt idx="5">
                  <c:v>0.00747906800454950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5048931682507652</c:v>
                </c:pt>
                <c:pt idx="4">
                  <c:v>0.01163779219054959</c:v>
                </c:pt>
                <c:pt idx="5">
                  <c:v>0.0032798387644430854</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26927595347959136</c:v>
                </c:pt>
                <c:pt idx="3">
                  <c:v>0.04219838064281826</c:v>
                </c:pt>
                <c:pt idx="4">
                  <c:v>0.12491602122876966</c:v>
                </c:pt>
                <c:pt idx="5">
                  <c:v>0.1288553607860630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4444423825131536</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984678406390149</c:v>
                </c:pt>
                <c:pt idx="1">
                  <c:v>0.016118801225841688</c:v>
                </c:pt>
                <c:pt idx="2">
                  <c:v>0.05407432781612324</c:v>
                </c:pt>
                <c:pt idx="3">
                  <c:v>0.11316585442242953</c:v>
                </c:pt>
                <c:pt idx="4">
                  <c:v>0.04504535581781915</c:v>
                </c:pt>
                <c:pt idx="5">
                  <c:v>0.0033023677941108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213910488930251</c:v>
                </c:pt>
                <c:pt idx="2">
                  <c:v>0.014747546566220732</c:v>
                </c:pt>
                <c:pt idx="3">
                  <c:v>0.02990176111278349</c:v>
                </c:pt>
                <c:pt idx="4">
                  <c:v>0.08204016376866254</c:v>
                </c:pt>
                <c:pt idx="5">
                  <c:v>0.015228685825520805</c:v>
                </c:pt>
                <c:pt idx="6">
                  <c:v>0.004209164116245050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744777961122773</c:v>
                </c:pt>
                <c:pt idx="1">
                  <c:v>0.027760245056699176</c:v>
                </c:pt>
                <c:pt idx="2">
                  <c:v>0.11934437643587231</c:v>
                </c:pt>
                <c:pt idx="3">
                  <c:v>0.26734464696552934</c:v>
                </c:pt>
                <c:pt idx="4">
                  <c:v>0.37912908429641573</c:v>
                </c:pt>
                <c:pt idx="5">
                  <c:v>0.19566123676135394</c:v>
                </c:pt>
                <c:pt idx="6">
                  <c:v>0.00401563252300674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151263140068065</c:v>
                </c:pt>
                <c:pt idx="1">
                  <c:v>0.029433262055105915</c:v>
                </c:pt>
                <c:pt idx="2">
                  <c:v>0.12653686231031827</c:v>
                </c:pt>
                <c:pt idx="3">
                  <c:v>0.254859417876351</c:v>
                </c:pt>
                <c:pt idx="4">
                  <c:v>0.39923577778447267</c:v>
                </c:pt>
                <c:pt idx="5">
                  <c:v>0.17852577558717275</c:v>
                </c:pt>
                <c:pt idx="6">
                  <c:v>0.00425764124651129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4603231841685549</c:v>
                </c:pt>
                <c:pt idx="4">
                  <c:v>0.026796536718294905</c:v>
                </c:pt>
                <c:pt idx="5">
                  <c:v>0.0026386881367897294</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5377278218052303</c:v>
                </c:pt>
                <c:pt idx="3">
                  <c:v>0.0027875828039684958</c:v>
                </c:pt>
                <c:pt idx="4">
                  <c:v>0.009281512775776858</c:v>
                </c:pt>
                <c:pt idx="5">
                  <c:v>0.004100884531753808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213910488930251</c:v>
                </c:pt>
                <c:pt idx="2">
                  <c:v>0.014747546566220732</c:v>
                </c:pt>
                <c:pt idx="3">
                  <c:v>0.02990176111278349</c:v>
                </c:pt>
                <c:pt idx="4">
                  <c:v>0.08204016376866254</c:v>
                </c:pt>
                <c:pt idx="5">
                  <c:v>0.015228685825520805</c:v>
                </c:pt>
                <c:pt idx="6">
                  <c:v>0.004209164116245050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213910488930251</c:v>
                </c:pt>
                <c:pt idx="2">
                  <c:v>0.014747546566220732</c:v>
                </c:pt>
                <c:pt idx="3">
                  <c:v>0.02990176111278349</c:v>
                </c:pt>
                <c:pt idx="4">
                  <c:v>0.08204016376866254</c:v>
                </c:pt>
                <c:pt idx="5">
                  <c:v>0.015228685825520805</c:v>
                </c:pt>
                <c:pt idx="6">
                  <c:v>0.004209164116245050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213910488930251</c:v>
                </c:pt>
                <c:pt idx="2">
                  <c:v>0.014747546566220732</c:v>
                </c:pt>
                <c:pt idx="3">
                  <c:v>0.02990176111278349</c:v>
                </c:pt>
                <c:pt idx="4">
                  <c:v>0.08204016376866254</c:v>
                </c:pt>
                <c:pt idx="5">
                  <c:v>0.015228685825520805</c:v>
                </c:pt>
                <c:pt idx="6">
                  <c:v>0.004209164116245050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744777961122773</c:v>
                </c:pt>
                <c:pt idx="1">
                  <c:v>0.027760245056699176</c:v>
                </c:pt>
                <c:pt idx="2">
                  <c:v>0.11934437643587231</c:v>
                </c:pt>
                <c:pt idx="3">
                  <c:v>0.26734464696552934</c:v>
                </c:pt>
                <c:pt idx="4">
                  <c:v>0.37912908429641573</c:v>
                </c:pt>
                <c:pt idx="5">
                  <c:v>0.19566123676135394</c:v>
                </c:pt>
                <c:pt idx="6">
                  <c:v>0.00401563252300674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593047473851815</c:v>
                </c:pt>
                <c:pt idx="4">
                  <c:v>0.025558696901447086</c:v>
                </c:pt>
                <c:pt idx="5">
                  <c:v>0.478510828360034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744777961122773</c:v>
                </c:pt>
                <c:pt idx="1">
                  <c:v>0.027760245056699176</c:v>
                </c:pt>
                <c:pt idx="2">
                  <c:v>0.11934437643587231</c:v>
                </c:pt>
                <c:pt idx="3">
                  <c:v>0.26734464696552934</c:v>
                </c:pt>
                <c:pt idx="4">
                  <c:v>0.37912908429641573</c:v>
                </c:pt>
                <c:pt idx="5">
                  <c:v>0.19566123676135394</c:v>
                </c:pt>
                <c:pt idx="6">
                  <c:v>0.00401563252300674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593047473851815</c:v>
                </c:pt>
                <c:pt idx="4">
                  <c:v>0.025558696901447086</c:v>
                </c:pt>
                <c:pt idx="5">
                  <c:v>0.478510828360034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4774948757341267</c:v>
                </c:pt>
                <c:pt idx="2">
                  <c:v>0.0056643210360303444</c:v>
                </c:pt>
                <c:pt idx="3">
                  <c:v>0.041854359274255445</c:v>
                </c:pt>
                <c:pt idx="4">
                  <c:v>0.0742237992007016</c:v>
                </c:pt>
                <c:pt idx="5">
                  <c:v>0.007803883759552514</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287810242930141</c:v>
                </c:pt>
                <c:pt idx="1">
                  <c:v>0.033746952717115544</c:v>
                </c:pt>
                <c:pt idx="2">
                  <c:v>0.1192322273957106</c:v>
                </c:pt>
                <c:pt idx="3">
                  <c:v>0.22555260391768006</c:v>
                </c:pt>
                <c:pt idx="4">
                  <c:v>0.4248321911184583</c:v>
                </c:pt>
                <c:pt idx="5">
                  <c:v>0.1921441325302992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6003173376260813</c:v>
                </c:pt>
                <c:pt idx="2">
                  <c:v>0.025654388975176457</c:v>
                </c:pt>
                <c:pt idx="3">
                  <c:v>0.012781674413679545</c:v>
                </c:pt>
                <c:pt idx="4">
                  <c:v>0.02934478458344407</c:v>
                </c:pt>
                <c:pt idx="5">
                  <c:v>0.0251071836512823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8534915836828727</c:v>
                </c:pt>
                <c:pt idx="3">
                  <c:v>0.0020579282678446667</c:v>
                </c:pt>
                <c:pt idx="4">
                  <c:v>0.008691429538801363</c:v>
                </c:pt>
                <c:pt idx="5">
                  <c:v>0.005614501483691668</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6309779432539336</c:v>
                </c:pt>
                <c:pt idx="2">
                  <c:v>0.006490863744179826</c:v>
                </c:pt>
                <c:pt idx="3">
                  <c:v>0.03290766269344465</c:v>
                </c:pt>
                <c:pt idx="4">
                  <c:v>0.0803559931619795</c:v>
                </c:pt>
                <c:pt idx="5">
                  <c:v>0.00760501830997145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06395884727534562</c:v>
                </c:pt>
                <c:pt idx="5">
                  <c:v>0.000743369103610259</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8989003417333752</c:v>
                </c:pt>
                <c:pt idx="1">
                  <c:v>0.0009573028602010366</c:v>
                </c:pt>
                <c:pt idx="2">
                  <c:v>0.031136469654783294</c:v>
                </c:pt>
                <c:pt idx="3">
                  <c:v>0.04669605609627021</c:v>
                </c:pt>
                <c:pt idx="4">
                  <c:v>0.15538116451674433</c:v>
                </c:pt>
                <c:pt idx="5">
                  <c:v>0.124844894646435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3305344230185403</c:v>
                </c:pt>
                <c:pt idx="1">
                  <c:v>0.010100016802835855</c:v>
                </c:pt>
                <c:pt idx="2">
                  <c:v>0.04209567813431521</c:v>
                </c:pt>
                <c:pt idx="3">
                  <c:v>0.1108136704310415</c:v>
                </c:pt>
                <c:pt idx="4">
                  <c:v>0.05119204051414118</c:v>
                </c:pt>
                <c:pt idx="5">
                  <c:v>0.00258228905387992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696177002417709</c:v>
                </c:pt>
                <c:pt idx="3">
                  <c:v>0.021432624639194656</c:v>
                </c:pt>
                <c:pt idx="4">
                  <c:v>0.0842285817337545</c:v>
                </c:pt>
                <c:pt idx="5">
                  <c:v>0.02878421234313860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64286674298627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287810242930141</c:v>
                </c:pt>
                <c:pt idx="1">
                  <c:v>0.033746952717115544</c:v>
                </c:pt>
                <c:pt idx="2">
                  <c:v>0.1192322273957106</c:v>
                </c:pt>
                <c:pt idx="3">
                  <c:v>0.22555260391768006</c:v>
                </c:pt>
                <c:pt idx="4">
                  <c:v>0.4248321911184583</c:v>
                </c:pt>
                <c:pt idx="5">
                  <c:v>0.1921441325302992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9209156440494895</c:v>
                </c:pt>
                <c:pt idx="4">
                  <c:v>0.024329626608394724</c:v>
                </c:pt>
                <c:pt idx="5">
                  <c:v>0.00322053452559137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696177002417709</c:v>
                </c:pt>
                <c:pt idx="3">
                  <c:v>0.021432624639194656</c:v>
                </c:pt>
                <c:pt idx="4">
                  <c:v>0.0842285817337545</c:v>
                </c:pt>
                <c:pt idx="5">
                  <c:v>0.028784212343138604</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696177002417709</c:v>
                </c:pt>
                <c:pt idx="3">
                  <c:v>0.021432624639194656</c:v>
                </c:pt>
                <c:pt idx="4">
                  <c:v>0.0842285817337545</c:v>
                </c:pt>
                <c:pt idx="5">
                  <c:v>0.028784212343138604</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043027047520312</c:v>
                </c:pt>
                <c:pt idx="1">
                  <c:v>0.0031735074460961096</c:v>
                </c:pt>
                <c:pt idx="2">
                  <c:v>0.03318830332739509</c:v>
                </c:pt>
                <c:pt idx="3">
                  <c:v>0.04389597784278558</c:v>
                </c:pt>
                <c:pt idx="4">
                  <c:v>0.13261638970212689</c:v>
                </c:pt>
                <c:pt idx="5">
                  <c:v>0.1322306203134171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3696177002417709</c:v>
                </c:pt>
                <c:pt idx="3">
                  <c:v>0.021432624639194656</c:v>
                </c:pt>
                <c:pt idx="4">
                  <c:v>0.0842285817337545</c:v>
                </c:pt>
                <c:pt idx="5">
                  <c:v>0.028784212343138604</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01818768546174</c:v>
                </c:pt>
                <c:pt idx="4">
                  <c:v>0.016386580516175055</c:v>
                </c:pt>
                <c:pt idx="5">
                  <c:v>0.4916116822395893</c:v>
                </c:pt>
                <c:pt idx="6">
                  <c:v>0.0118198603896182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1</c:v>
                </c:pt>
                <c:pt idx="2">
                  <c:v>0.11348140494937228</c:v>
                </c:pt>
                <c:pt idx="3">
                  <c:v>0.2358959959748086</c:v>
                </c:pt>
                <c:pt idx="4">
                  <c:v>0.40814205728880376</c:v>
                </c:pt>
                <c:pt idx="5">
                  <c:v>0.20556364616861458</c:v>
                </c:pt>
                <c:pt idx="6">
                  <c:v>0.0007166297012213648</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01818768546174</c:v>
                </c:pt>
                <c:pt idx="4">
                  <c:v>0.016386580516175055</c:v>
                </c:pt>
                <c:pt idx="5">
                  <c:v>0.4916116822395893</c:v>
                </c:pt>
                <c:pt idx="6">
                  <c:v>0.01181986038961826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8273034148365867</c:v>
                </c:pt>
                <c:pt idx="1">
                  <c:v>0.015102519096612334</c:v>
                </c:pt>
                <c:pt idx="2">
                  <c:v>0.04835681127525949</c:v>
                </c:pt>
                <c:pt idx="3">
                  <c:v>0.11122180389453507</c:v>
                </c:pt>
                <c:pt idx="4">
                  <c:v>0.04718357503075266</c:v>
                </c:pt>
                <c:pt idx="5">
                  <c:v>0.00216384912328356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9"/>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744777961122773</c:v>
                </c:pt>
                <c:pt idx="1">
                  <c:v>0.027760245056699176</c:v>
                </c:pt>
                <c:pt idx="2">
                  <c:v>0.11934437643587231</c:v>
                </c:pt>
                <c:pt idx="3">
                  <c:v>0.26734464696552934</c:v>
                </c:pt>
                <c:pt idx="4">
                  <c:v>0.37912908429641573</c:v>
                </c:pt>
                <c:pt idx="5">
                  <c:v>0.19566123676135394</c:v>
                </c:pt>
                <c:pt idx="6">
                  <c:v>0.004015632523006747</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151263140068065</c:v>
                </c:pt>
                <c:pt idx="1">
                  <c:v>0.029433262055105915</c:v>
                </c:pt>
                <c:pt idx="2">
                  <c:v>0.12653686231031827</c:v>
                </c:pt>
                <c:pt idx="3">
                  <c:v>0.254859417876351</c:v>
                </c:pt>
                <c:pt idx="4">
                  <c:v>0.39923577778447267</c:v>
                </c:pt>
                <c:pt idx="5">
                  <c:v>0.17852577558717275</c:v>
                </c:pt>
                <c:pt idx="6">
                  <c:v>0.00425764124651129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9611560963249213</c:v>
                </c:pt>
                <c:pt idx="2">
                  <c:v>0.020020928167702734</c:v>
                </c:pt>
                <c:pt idx="3">
                  <c:v>0.024099851007940383</c:v>
                </c:pt>
                <c:pt idx="4">
                  <c:v>0.037590727838811136</c:v>
                </c:pt>
                <c:pt idx="5">
                  <c:v>0.0210216050401388</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6"/>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 Id="rId7" Type="http://schemas.openxmlformats.org/officeDocument/2006/relationships/chart" Target="../charts/chart350.xml"/><Relationship Id="rId8" Type="http://schemas.openxmlformats.org/officeDocument/2006/relationships/chart" Target="../charts/chart351.xml"/><Relationship Id="rId9" Type="http://schemas.openxmlformats.org/officeDocument/2006/relationships/chart" Target="../charts/chart352.xml"/><Relationship Id="rId10" Type="http://schemas.openxmlformats.org/officeDocument/2006/relationships/chart" Target="../charts/chart353.xml"/><Relationship Id="rId11" Type="http://schemas.openxmlformats.org/officeDocument/2006/relationships/chart" Target="../charts/chart354.xml"/><Relationship Id="rId12" Type="http://schemas.openxmlformats.org/officeDocument/2006/relationships/chart" Target="../charts/chart355.xml"/><Relationship Id="rId13" Type="http://schemas.openxmlformats.org/officeDocument/2006/relationships/chart" Target="../charts/chart356.xml"/><Relationship Id="rId14" Type="http://schemas.openxmlformats.org/officeDocument/2006/relationships/chart" Target="../charts/chart357.xml"/><Relationship Id="rId15" Type="http://schemas.openxmlformats.org/officeDocument/2006/relationships/chart" Target="../charts/chart358.xml"/><Relationship Id="rId16" Type="http://schemas.openxmlformats.org/officeDocument/2006/relationships/chart" Target="../charts/chart359.xml"/><Relationship Id="rId17" Type="http://schemas.openxmlformats.org/officeDocument/2006/relationships/chart" Target="../charts/chart3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 Id="rId8" Type="http://schemas.openxmlformats.org/officeDocument/2006/relationships/chart" Target="../charts/chart363.xml"/><Relationship Id="rId9" Type="http://schemas.openxmlformats.org/officeDocument/2006/relationships/chart" Target="../charts/chart364.xml"/><Relationship Id="rId10" Type="http://schemas.openxmlformats.org/officeDocument/2006/relationships/chart" Target="../charts/chart365.xml"/><Relationship Id="rId11" Type="http://schemas.openxmlformats.org/officeDocument/2006/relationships/chart" Target="../charts/chart366.xml"/><Relationship Id="rId12" Type="http://schemas.openxmlformats.org/officeDocument/2006/relationships/chart" Target="../charts/chart367.xml"/><Relationship Id="rId13" Type="http://schemas.openxmlformats.org/officeDocument/2006/relationships/chart" Target="../charts/chart368.xml"/><Relationship Id="rId14" Type="http://schemas.openxmlformats.org/officeDocument/2006/relationships/chart" Target="../charts/chart369.xml"/><Relationship Id="rId15" Type="http://schemas.openxmlformats.org/officeDocument/2006/relationships/chart" Target="../charts/chart370.xml"/><Relationship Id="rId16" Type="http://schemas.openxmlformats.org/officeDocument/2006/relationships/chart" Target="../charts/chart371.xml"/><Relationship Id="rId17" Type="http://schemas.openxmlformats.org/officeDocument/2006/relationships/chart" Target="../charts/chart37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 Id="rId7" Type="http://schemas.openxmlformats.org/officeDocument/2006/relationships/chart" Target="../charts/chart374.xml"/><Relationship Id="rId8" Type="http://schemas.openxmlformats.org/officeDocument/2006/relationships/chart" Target="../charts/chart375.xml"/><Relationship Id="rId9" Type="http://schemas.openxmlformats.org/officeDocument/2006/relationships/chart" Target="../charts/chart376.xml"/><Relationship Id="rId10" Type="http://schemas.openxmlformats.org/officeDocument/2006/relationships/chart" Target="../charts/chart377.xml"/><Relationship Id="rId11" Type="http://schemas.openxmlformats.org/officeDocument/2006/relationships/chart" Target="../charts/chart378.xml"/><Relationship Id="rId12" Type="http://schemas.openxmlformats.org/officeDocument/2006/relationships/chart" Target="../charts/chart379.xml"/><Relationship Id="rId13" Type="http://schemas.openxmlformats.org/officeDocument/2006/relationships/chart" Target="../charts/chart380.xml"/><Relationship Id="rId14" Type="http://schemas.openxmlformats.org/officeDocument/2006/relationships/chart" Target="../charts/chart381.xml"/><Relationship Id="rId15" Type="http://schemas.openxmlformats.org/officeDocument/2006/relationships/chart" Target="../charts/chart382.xml"/><Relationship Id="rId16" Type="http://schemas.openxmlformats.org/officeDocument/2006/relationships/chart" Target="../charts/chart383.xml"/><Relationship Id="rId17" Type="http://schemas.openxmlformats.org/officeDocument/2006/relationships/chart" Target="../charts/chart38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 Id="rId7" Type="http://schemas.openxmlformats.org/officeDocument/2006/relationships/chart" Target="../charts/chart386.xml"/><Relationship Id="rId8" Type="http://schemas.openxmlformats.org/officeDocument/2006/relationships/chart" Target="../charts/chart387.xml"/><Relationship Id="rId9" Type="http://schemas.openxmlformats.org/officeDocument/2006/relationships/chart" Target="../charts/chart388.xml"/><Relationship Id="rId10" Type="http://schemas.openxmlformats.org/officeDocument/2006/relationships/chart" Target="../charts/chart389.xml"/><Relationship Id="rId11" Type="http://schemas.openxmlformats.org/officeDocument/2006/relationships/chart" Target="../charts/chart390.xml"/><Relationship Id="rId12" Type="http://schemas.openxmlformats.org/officeDocument/2006/relationships/chart" Target="../charts/chart391.xml"/><Relationship Id="rId13" Type="http://schemas.openxmlformats.org/officeDocument/2006/relationships/chart" Target="../charts/chart392.xml"/><Relationship Id="rId14" Type="http://schemas.openxmlformats.org/officeDocument/2006/relationships/chart" Target="../charts/chart393.xml"/><Relationship Id="rId15" Type="http://schemas.openxmlformats.org/officeDocument/2006/relationships/chart" Target="../charts/chart394.xml"/><Relationship Id="rId16" Type="http://schemas.openxmlformats.org/officeDocument/2006/relationships/chart" Target="../charts/chart395.xml"/><Relationship Id="rId17" Type="http://schemas.openxmlformats.org/officeDocument/2006/relationships/chart" Target="../charts/chart39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 Id="rId8" Type="http://schemas.openxmlformats.org/officeDocument/2006/relationships/chart" Target="../charts/chart399.xml"/><Relationship Id="rId9" Type="http://schemas.openxmlformats.org/officeDocument/2006/relationships/chart" Target="../charts/chart400.xml"/><Relationship Id="rId10" Type="http://schemas.openxmlformats.org/officeDocument/2006/relationships/chart" Target="../charts/chart401.xml"/><Relationship Id="rId11" Type="http://schemas.openxmlformats.org/officeDocument/2006/relationships/chart" Target="../charts/chart402.xml"/><Relationship Id="rId12" Type="http://schemas.openxmlformats.org/officeDocument/2006/relationships/chart" Target="../charts/chart403.xml"/><Relationship Id="rId13" Type="http://schemas.openxmlformats.org/officeDocument/2006/relationships/chart" Target="../charts/chart404.xml"/><Relationship Id="rId14" Type="http://schemas.openxmlformats.org/officeDocument/2006/relationships/chart" Target="../charts/chart405.xml"/><Relationship Id="rId15" Type="http://schemas.openxmlformats.org/officeDocument/2006/relationships/chart" Target="../charts/chart406.xml"/><Relationship Id="rId16" Type="http://schemas.openxmlformats.org/officeDocument/2006/relationships/chart" Target="../charts/chart407.xml"/><Relationship Id="rId17" Type="http://schemas.openxmlformats.org/officeDocument/2006/relationships/chart" Target="../charts/chart40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 Id="rId8" Type="http://schemas.openxmlformats.org/officeDocument/2006/relationships/chart" Target="../charts/chart411.xml"/><Relationship Id="rId9" Type="http://schemas.openxmlformats.org/officeDocument/2006/relationships/chart" Target="../charts/chart412.xml"/><Relationship Id="rId10" Type="http://schemas.openxmlformats.org/officeDocument/2006/relationships/chart" Target="../charts/chart413.xml"/><Relationship Id="rId11" Type="http://schemas.openxmlformats.org/officeDocument/2006/relationships/chart" Target="../charts/chart414.xml"/><Relationship Id="rId12" Type="http://schemas.openxmlformats.org/officeDocument/2006/relationships/chart" Target="../charts/chart415.xml"/><Relationship Id="rId13" Type="http://schemas.openxmlformats.org/officeDocument/2006/relationships/chart" Target="../charts/chart416.xml"/><Relationship Id="rId14" Type="http://schemas.openxmlformats.org/officeDocument/2006/relationships/chart" Target="../charts/chart417.xml"/><Relationship Id="rId15" Type="http://schemas.openxmlformats.org/officeDocument/2006/relationships/chart" Target="../charts/chart418.xml"/><Relationship Id="rId16" Type="http://schemas.openxmlformats.org/officeDocument/2006/relationships/chart" Target="../charts/chart419.xml"/><Relationship Id="rId17" Type="http://schemas.openxmlformats.org/officeDocument/2006/relationships/chart" Target="../charts/chart42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1.xml"/><Relationship Id="rId7" Type="http://schemas.openxmlformats.org/officeDocument/2006/relationships/chart" Target="../charts/chart422.xml"/><Relationship Id="rId8" Type="http://schemas.openxmlformats.org/officeDocument/2006/relationships/chart" Target="../charts/chart423.xml"/><Relationship Id="rId9" Type="http://schemas.openxmlformats.org/officeDocument/2006/relationships/chart" Target="../charts/chart424.xml"/><Relationship Id="rId10" Type="http://schemas.openxmlformats.org/officeDocument/2006/relationships/chart" Target="../charts/chart425.xml"/><Relationship Id="rId11" Type="http://schemas.openxmlformats.org/officeDocument/2006/relationships/chart" Target="../charts/chart426.xml"/><Relationship Id="rId12" Type="http://schemas.openxmlformats.org/officeDocument/2006/relationships/chart" Target="../charts/chart427.xml"/><Relationship Id="rId13" Type="http://schemas.openxmlformats.org/officeDocument/2006/relationships/chart" Target="../charts/chart428.xml"/><Relationship Id="rId14" Type="http://schemas.openxmlformats.org/officeDocument/2006/relationships/chart" Target="../charts/chart429.xml"/><Relationship Id="rId15" Type="http://schemas.openxmlformats.org/officeDocument/2006/relationships/chart" Target="../charts/chart430.xml"/><Relationship Id="rId16" Type="http://schemas.openxmlformats.org/officeDocument/2006/relationships/chart" Target="../charts/chart431.xml"/><Relationship Id="rId17" Type="http://schemas.openxmlformats.org/officeDocument/2006/relationships/chart" Target="../charts/chart432.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178653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73489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624238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65756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461447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6589805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7024884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009826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3237444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023309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3552474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002785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975319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284675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1656259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786848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174868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904496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2182108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585314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603295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189500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3350165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654510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792992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4210376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110547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066817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330241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044117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1376213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609256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692593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350730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460048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2"/>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8185">
                <a:tc>
                  <a:txBody>
                    <a:bodyPr/>
                    <a:lstStyle/>
                    <a:p>
                      <a:pPr algn="ctr">
                        <a:defRPr sz="6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8185">
                <a:tc>
                  <a:txBody>
                    <a:bodyPr/>
                    <a:lstStyle/>
                    <a:p>
                      <a:pPr algn="ctr">
                        <a:defRPr sz="6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8185">
                <a:tc>
                  <a:txBody>
                    <a:bodyPr/>
                    <a:lstStyle/>
                    <a:p>
                      <a:pPr algn="ctr">
                        <a:defRPr sz="6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428185">
                <a:tc>
                  <a:txBody>
                    <a:bodyPr/>
                    <a:lstStyle/>
                    <a:p>
                      <a:pPr algn="ctr">
                        <a:defRPr sz="6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428185">
                <a:tc>
                  <a:txBody>
                    <a:bodyPr/>
                    <a:lstStyle/>
                    <a:p>
                      <a:pPr algn="ctr">
                        <a:defRPr sz="6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428185">
                <a:tc>
                  <a:txBody>
                    <a:bodyPr/>
                    <a:lstStyle/>
                    <a:p>
                      <a:pPr algn="ctr">
                        <a:defRPr sz="6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428185">
                <a:tc>
                  <a:txBody>
                    <a:bodyPr/>
                    <a:lstStyle/>
                    <a:p>
                      <a:pPr algn="ctr">
                        <a:defRPr sz="6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284329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9</TotalTime>
  <Words>5004</Words>
  <Application>Microsoft Office PowerPoint</Application>
  <PresentationFormat>On-screen Show (16:9)</PresentationFormat>
  <Paragraphs>1512</Paragraphs>
  <Slides>36</Slides>
  <Notes>3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4T07:35: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